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5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B1E2-9CC9-B433-1869-F9E4874C29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DB26A0BF-8029-0107-7E9D-48DA60F478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26A0BF-8029-0107-7E9D-48DA60F478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57BA2A8-3C9E-065F-F5B6-14552442B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i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5F6D6F-66AC-45BC-9435-8409F66F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4C26D20-975B-D2A6-B0BF-B5BA259FF9AF}"/>
              </a:ext>
            </a:extLst>
          </p:cNvPr>
          <p:cNvSpPr/>
          <p:nvPr/>
        </p:nvSpPr>
        <p:spPr>
          <a:xfrm>
            <a:off x="1847198" y="1239576"/>
            <a:ext cx="1368152" cy="1368152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56EA76A-0FFC-1588-9F45-FACAFB83A4EF}"/>
              </a:ext>
            </a:extLst>
          </p:cNvPr>
          <p:cNvSpPr/>
          <p:nvPr/>
        </p:nvSpPr>
        <p:spPr>
          <a:xfrm>
            <a:off x="1847198" y="3183792"/>
            <a:ext cx="1368152" cy="1368152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E516823-231B-85C3-8CCA-301F66330166}"/>
              </a:ext>
            </a:extLst>
          </p:cNvPr>
          <p:cNvSpPr/>
          <p:nvPr/>
        </p:nvSpPr>
        <p:spPr>
          <a:xfrm>
            <a:off x="1847198" y="5128008"/>
            <a:ext cx="1368152" cy="1368152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ounded Rectangle 6">
            <a:extLst>
              <a:ext uri="{FF2B5EF4-FFF2-40B4-BE49-F238E27FC236}">
                <a16:creationId xmlns:a16="http://schemas.microsoft.com/office/drawing/2014/main" id="{682FA677-CF35-531A-EE1E-DD411E4A8AC8}"/>
              </a:ext>
            </a:extLst>
          </p:cNvPr>
          <p:cNvSpPr/>
          <p:nvPr/>
        </p:nvSpPr>
        <p:spPr>
          <a:xfrm>
            <a:off x="3402190" y="1268760"/>
            <a:ext cx="7200220" cy="1296144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b="1" dirty="0"/>
              <a:t>VIS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7EF551-5CA6-2239-E4BA-479FB48D146E}"/>
              </a:ext>
            </a:extLst>
          </p:cNvPr>
          <p:cNvSpPr txBox="1"/>
          <p:nvPr/>
        </p:nvSpPr>
        <p:spPr>
          <a:xfrm>
            <a:off x="3525130" y="1833452"/>
            <a:ext cx="6000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Insert text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13" name="Rounded Rectangle 13">
            <a:extLst>
              <a:ext uri="{FF2B5EF4-FFF2-40B4-BE49-F238E27FC236}">
                <a16:creationId xmlns:a16="http://schemas.microsoft.com/office/drawing/2014/main" id="{86EEA410-5FEF-514B-0BEB-9A5A9D0D42F4}"/>
              </a:ext>
            </a:extLst>
          </p:cNvPr>
          <p:cNvSpPr/>
          <p:nvPr/>
        </p:nvSpPr>
        <p:spPr>
          <a:xfrm>
            <a:off x="3402190" y="3212976"/>
            <a:ext cx="7200220" cy="1296144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b="1" dirty="0"/>
              <a:t>MISS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D6CA46-AE87-5BD1-537B-7C3CC1706A6F}"/>
              </a:ext>
            </a:extLst>
          </p:cNvPr>
          <p:cNvSpPr txBox="1"/>
          <p:nvPr/>
        </p:nvSpPr>
        <p:spPr>
          <a:xfrm>
            <a:off x="3525130" y="3777668"/>
            <a:ext cx="6000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Insert text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18" name="Rounded Rectangle 18">
            <a:extLst>
              <a:ext uri="{FF2B5EF4-FFF2-40B4-BE49-F238E27FC236}">
                <a16:creationId xmlns:a16="http://schemas.microsoft.com/office/drawing/2014/main" id="{77A13FC6-31A6-DC05-5B3A-CAF9E064E8A0}"/>
              </a:ext>
            </a:extLst>
          </p:cNvPr>
          <p:cNvSpPr/>
          <p:nvPr/>
        </p:nvSpPr>
        <p:spPr>
          <a:xfrm>
            <a:off x="3402190" y="5157192"/>
            <a:ext cx="7200220" cy="1296144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b="1" dirty="0"/>
              <a:t>GOAL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5063238-CC35-0518-AC50-2A04209C98BB}"/>
              </a:ext>
            </a:extLst>
          </p:cNvPr>
          <p:cNvSpPr txBox="1"/>
          <p:nvPr/>
        </p:nvSpPr>
        <p:spPr>
          <a:xfrm>
            <a:off x="3525130" y="5721884"/>
            <a:ext cx="6000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Insert text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C7A8E97-A22C-45FD-1EDA-D241A8849EA6}"/>
              </a:ext>
            </a:extLst>
          </p:cNvPr>
          <p:cNvGrpSpPr/>
          <p:nvPr/>
        </p:nvGrpSpPr>
        <p:grpSpPr>
          <a:xfrm>
            <a:off x="1995817" y="1493009"/>
            <a:ext cx="1110650" cy="814951"/>
            <a:chOff x="2267744" y="933103"/>
            <a:chExt cx="1110650" cy="814951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F71AD51-9551-B9FA-0C45-14F564484038}"/>
                </a:ext>
              </a:extLst>
            </p:cNvPr>
            <p:cNvSpPr/>
            <p:nvPr/>
          </p:nvSpPr>
          <p:spPr>
            <a:xfrm>
              <a:off x="2627784" y="1124744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1BF8E45-F41C-1263-14D4-B93DF03AAA9E}"/>
                </a:ext>
              </a:extLst>
            </p:cNvPr>
            <p:cNvGrpSpPr/>
            <p:nvPr/>
          </p:nvGrpSpPr>
          <p:grpSpPr>
            <a:xfrm>
              <a:off x="2267744" y="933103"/>
              <a:ext cx="1110650" cy="814951"/>
              <a:chOff x="7084660" y="1237584"/>
              <a:chExt cx="1110650" cy="1111296"/>
            </a:xfrm>
          </p:grpSpPr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70BD0A26-9559-3B38-EC9F-A7D2E5FBB297}"/>
                  </a:ext>
                </a:extLst>
              </p:cNvPr>
              <p:cNvSpPr/>
              <p:nvPr/>
            </p:nvSpPr>
            <p:spPr>
              <a:xfrm>
                <a:off x="7092280" y="1484785"/>
                <a:ext cx="1080120" cy="864095"/>
              </a:xfrm>
              <a:prstGeom prst="arc">
                <a:avLst>
                  <a:gd name="adj1" fmla="val 11318442"/>
                  <a:gd name="adj2" fmla="val 21097728"/>
                </a:avLst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4" name="Arc 23">
                <a:extLst>
                  <a:ext uri="{FF2B5EF4-FFF2-40B4-BE49-F238E27FC236}">
                    <a16:creationId xmlns:a16="http://schemas.microsoft.com/office/drawing/2014/main" id="{C737E5F8-83B7-70AE-0218-9C9721105D2C}"/>
                  </a:ext>
                </a:extLst>
              </p:cNvPr>
              <p:cNvSpPr/>
              <p:nvPr/>
            </p:nvSpPr>
            <p:spPr>
              <a:xfrm rot="10800000">
                <a:off x="7084660" y="1237584"/>
                <a:ext cx="1110650" cy="864095"/>
              </a:xfrm>
              <a:prstGeom prst="arc">
                <a:avLst>
                  <a:gd name="adj1" fmla="val 11611316"/>
                  <a:gd name="adj2" fmla="val 20914949"/>
                </a:avLst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8120A67-0CCF-AC7F-8E59-2C3719E0BDCA}"/>
              </a:ext>
            </a:extLst>
          </p:cNvPr>
          <p:cNvGrpSpPr/>
          <p:nvPr/>
        </p:nvGrpSpPr>
        <p:grpSpPr>
          <a:xfrm>
            <a:off x="2063222" y="3392995"/>
            <a:ext cx="936104" cy="936104"/>
            <a:chOff x="2335560" y="2896369"/>
            <a:chExt cx="936104" cy="936104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5C47924-5505-59B1-1A16-EA244B351F4B}"/>
                </a:ext>
              </a:extLst>
            </p:cNvPr>
            <p:cNvGrpSpPr/>
            <p:nvPr/>
          </p:nvGrpSpPr>
          <p:grpSpPr>
            <a:xfrm>
              <a:off x="2373660" y="2934469"/>
              <a:ext cx="864096" cy="864096"/>
              <a:chOff x="7596336" y="2708920"/>
              <a:chExt cx="864096" cy="864096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7BF6E00C-415C-4BB0-D7FA-06B15F424E42}"/>
                  </a:ext>
                </a:extLst>
              </p:cNvPr>
              <p:cNvSpPr/>
              <p:nvPr/>
            </p:nvSpPr>
            <p:spPr>
              <a:xfrm>
                <a:off x="7596336" y="2708920"/>
                <a:ext cx="864096" cy="864096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97BD99F8-339B-4663-83FE-A8B0BDC9019E}"/>
                  </a:ext>
                </a:extLst>
              </p:cNvPr>
              <p:cNvSpPr/>
              <p:nvPr/>
            </p:nvSpPr>
            <p:spPr>
              <a:xfrm>
                <a:off x="7767042" y="2879626"/>
                <a:ext cx="522684" cy="52268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527706F-541C-EF52-58E4-852EF368A0E2}"/>
                </a:ext>
              </a:extLst>
            </p:cNvPr>
            <p:cNvGrpSpPr/>
            <p:nvPr/>
          </p:nvGrpSpPr>
          <p:grpSpPr>
            <a:xfrm>
              <a:off x="2335560" y="2896369"/>
              <a:ext cx="936104" cy="936104"/>
              <a:chOff x="7020272" y="2132856"/>
              <a:chExt cx="936104" cy="936104"/>
            </a:xfrm>
          </p:grpSpPr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B9EB22A3-E115-D492-666D-4274DD78093F}"/>
                  </a:ext>
                </a:extLst>
              </p:cNvPr>
              <p:cNvCxnSpPr/>
              <p:nvPr/>
            </p:nvCxnSpPr>
            <p:spPr>
              <a:xfrm>
                <a:off x="7499945" y="2132856"/>
                <a:ext cx="0" cy="936104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5D40E841-9712-44DF-ED78-E797B154C401}"/>
                  </a:ext>
                </a:extLst>
              </p:cNvPr>
              <p:cNvCxnSpPr/>
              <p:nvPr/>
            </p:nvCxnSpPr>
            <p:spPr>
              <a:xfrm rot="16200000">
                <a:off x="7488324" y="2096853"/>
                <a:ext cx="0" cy="936104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2" name="Freeform 18">
            <a:extLst>
              <a:ext uri="{FF2B5EF4-FFF2-40B4-BE49-F238E27FC236}">
                <a16:creationId xmlns:a16="http://schemas.microsoft.com/office/drawing/2014/main" id="{1B5F33B6-67E7-3D3C-CA41-C076F5DBCB22}"/>
              </a:ext>
            </a:extLst>
          </p:cNvPr>
          <p:cNvSpPr>
            <a:spLocks noEditPoints="1"/>
          </p:cNvSpPr>
          <p:nvPr/>
        </p:nvSpPr>
        <p:spPr bwMode="auto">
          <a:xfrm>
            <a:off x="2216737" y="5508387"/>
            <a:ext cx="622708" cy="702932"/>
          </a:xfrm>
          <a:custGeom>
            <a:avLst/>
            <a:gdLst>
              <a:gd name="T0" fmla="*/ 1190 w 1304"/>
              <a:gd name="T1" fmla="*/ 792 h 1472"/>
              <a:gd name="T2" fmla="*/ 954 w 1304"/>
              <a:gd name="T3" fmla="*/ 790 h 1472"/>
              <a:gd name="T4" fmla="*/ 944 w 1304"/>
              <a:gd name="T5" fmla="*/ 838 h 1472"/>
              <a:gd name="T6" fmla="*/ 928 w 1304"/>
              <a:gd name="T7" fmla="*/ 884 h 1472"/>
              <a:gd name="T8" fmla="*/ 904 w 1304"/>
              <a:gd name="T9" fmla="*/ 924 h 1472"/>
              <a:gd name="T10" fmla="*/ 876 w 1304"/>
              <a:gd name="T11" fmla="*/ 962 h 1472"/>
              <a:gd name="T12" fmla="*/ 842 w 1304"/>
              <a:gd name="T13" fmla="*/ 994 h 1472"/>
              <a:gd name="T14" fmla="*/ 802 w 1304"/>
              <a:gd name="T15" fmla="*/ 1020 h 1472"/>
              <a:gd name="T16" fmla="*/ 760 w 1304"/>
              <a:gd name="T17" fmla="*/ 1042 h 1472"/>
              <a:gd name="T18" fmla="*/ 714 w 1304"/>
              <a:gd name="T19" fmla="*/ 1054 h 1472"/>
              <a:gd name="T20" fmla="*/ 716 w 1304"/>
              <a:gd name="T21" fmla="*/ 1104 h 1472"/>
              <a:gd name="T22" fmla="*/ 716 w 1304"/>
              <a:gd name="T23" fmla="*/ 1156 h 1472"/>
              <a:gd name="T24" fmla="*/ 708 w 1304"/>
              <a:gd name="T25" fmla="*/ 1306 h 1472"/>
              <a:gd name="T26" fmla="*/ 698 w 1304"/>
              <a:gd name="T27" fmla="*/ 1366 h 1472"/>
              <a:gd name="T28" fmla="*/ 684 w 1304"/>
              <a:gd name="T29" fmla="*/ 1414 h 1472"/>
              <a:gd name="T30" fmla="*/ 812 w 1304"/>
              <a:gd name="T31" fmla="*/ 1472 h 1472"/>
              <a:gd name="T32" fmla="*/ 608 w 1304"/>
              <a:gd name="T33" fmla="*/ 1414 h 1472"/>
              <a:gd name="T34" fmla="*/ 614 w 1304"/>
              <a:gd name="T35" fmla="*/ 1414 h 1472"/>
              <a:gd name="T36" fmla="*/ 600 w 1304"/>
              <a:gd name="T37" fmla="*/ 1366 h 1472"/>
              <a:gd name="T38" fmla="*/ 590 w 1304"/>
              <a:gd name="T39" fmla="*/ 1306 h 1472"/>
              <a:gd name="T40" fmla="*/ 582 w 1304"/>
              <a:gd name="T41" fmla="*/ 1156 h 1472"/>
              <a:gd name="T42" fmla="*/ 582 w 1304"/>
              <a:gd name="T43" fmla="*/ 1104 h 1472"/>
              <a:gd name="T44" fmla="*/ 586 w 1304"/>
              <a:gd name="T45" fmla="*/ 1054 h 1472"/>
              <a:gd name="T46" fmla="*/ 540 w 1304"/>
              <a:gd name="T47" fmla="*/ 1040 h 1472"/>
              <a:gd name="T48" fmla="*/ 496 w 1304"/>
              <a:gd name="T49" fmla="*/ 1020 h 1472"/>
              <a:gd name="T50" fmla="*/ 458 w 1304"/>
              <a:gd name="T51" fmla="*/ 994 h 1472"/>
              <a:gd name="T52" fmla="*/ 424 w 1304"/>
              <a:gd name="T53" fmla="*/ 962 h 1472"/>
              <a:gd name="T54" fmla="*/ 396 w 1304"/>
              <a:gd name="T55" fmla="*/ 924 h 1472"/>
              <a:gd name="T56" fmla="*/ 372 w 1304"/>
              <a:gd name="T57" fmla="*/ 882 h 1472"/>
              <a:gd name="T58" fmla="*/ 356 w 1304"/>
              <a:gd name="T59" fmla="*/ 838 h 1472"/>
              <a:gd name="T60" fmla="*/ 348 w 1304"/>
              <a:gd name="T61" fmla="*/ 790 h 1472"/>
              <a:gd name="T62" fmla="*/ 0 w 1304"/>
              <a:gd name="T63" fmla="*/ 254 h 1472"/>
              <a:gd name="T64" fmla="*/ 268 w 1304"/>
              <a:gd name="T65" fmla="*/ 0 h 1472"/>
              <a:gd name="T66" fmla="*/ 1004 w 1304"/>
              <a:gd name="T67" fmla="*/ 254 h 1472"/>
              <a:gd name="T68" fmla="*/ 1304 w 1304"/>
              <a:gd name="T69" fmla="*/ 254 h 1472"/>
              <a:gd name="T70" fmla="*/ 64 w 1304"/>
              <a:gd name="T71" fmla="*/ 306 h 1472"/>
              <a:gd name="T72" fmla="*/ 344 w 1304"/>
              <a:gd name="T73" fmla="*/ 706 h 1472"/>
              <a:gd name="T74" fmla="*/ 298 w 1304"/>
              <a:gd name="T75" fmla="*/ 316 h 1472"/>
              <a:gd name="T76" fmla="*/ 1112 w 1304"/>
              <a:gd name="T77" fmla="*/ 706 h 1472"/>
              <a:gd name="T78" fmla="*/ 1002 w 1304"/>
              <a:gd name="T79" fmla="*/ 316 h 1472"/>
              <a:gd name="T80" fmla="*/ 954 w 1304"/>
              <a:gd name="T81" fmla="*/ 706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04" h="1472">
                <a:moveTo>
                  <a:pt x="1304" y="254"/>
                </a:moveTo>
                <a:lnTo>
                  <a:pt x="1190" y="792"/>
                </a:lnTo>
                <a:lnTo>
                  <a:pt x="954" y="790"/>
                </a:lnTo>
                <a:lnTo>
                  <a:pt x="954" y="790"/>
                </a:lnTo>
                <a:lnTo>
                  <a:pt x="950" y="814"/>
                </a:lnTo>
                <a:lnTo>
                  <a:pt x="944" y="838"/>
                </a:lnTo>
                <a:lnTo>
                  <a:pt x="936" y="862"/>
                </a:lnTo>
                <a:lnTo>
                  <a:pt x="928" y="884"/>
                </a:lnTo>
                <a:lnTo>
                  <a:pt x="916" y="904"/>
                </a:lnTo>
                <a:lnTo>
                  <a:pt x="904" y="924"/>
                </a:lnTo>
                <a:lnTo>
                  <a:pt x="890" y="944"/>
                </a:lnTo>
                <a:lnTo>
                  <a:pt x="876" y="962"/>
                </a:lnTo>
                <a:lnTo>
                  <a:pt x="858" y="978"/>
                </a:lnTo>
                <a:lnTo>
                  <a:pt x="842" y="994"/>
                </a:lnTo>
                <a:lnTo>
                  <a:pt x="822" y="1008"/>
                </a:lnTo>
                <a:lnTo>
                  <a:pt x="802" y="1020"/>
                </a:lnTo>
                <a:lnTo>
                  <a:pt x="782" y="1032"/>
                </a:lnTo>
                <a:lnTo>
                  <a:pt x="760" y="1042"/>
                </a:lnTo>
                <a:lnTo>
                  <a:pt x="736" y="1048"/>
                </a:lnTo>
                <a:lnTo>
                  <a:pt x="714" y="1054"/>
                </a:lnTo>
                <a:lnTo>
                  <a:pt x="714" y="1054"/>
                </a:lnTo>
                <a:lnTo>
                  <a:pt x="716" y="1104"/>
                </a:lnTo>
                <a:lnTo>
                  <a:pt x="716" y="1156"/>
                </a:lnTo>
                <a:lnTo>
                  <a:pt x="716" y="1156"/>
                </a:lnTo>
                <a:lnTo>
                  <a:pt x="714" y="1234"/>
                </a:lnTo>
                <a:lnTo>
                  <a:pt x="708" y="1306"/>
                </a:lnTo>
                <a:lnTo>
                  <a:pt x="704" y="1338"/>
                </a:lnTo>
                <a:lnTo>
                  <a:pt x="698" y="1366"/>
                </a:lnTo>
                <a:lnTo>
                  <a:pt x="692" y="1392"/>
                </a:lnTo>
                <a:lnTo>
                  <a:pt x="684" y="1414"/>
                </a:lnTo>
                <a:lnTo>
                  <a:pt x="688" y="1414"/>
                </a:lnTo>
                <a:lnTo>
                  <a:pt x="812" y="1472"/>
                </a:lnTo>
                <a:lnTo>
                  <a:pt x="486" y="1472"/>
                </a:lnTo>
                <a:lnTo>
                  <a:pt x="608" y="1414"/>
                </a:lnTo>
                <a:lnTo>
                  <a:pt x="614" y="1414"/>
                </a:lnTo>
                <a:lnTo>
                  <a:pt x="614" y="1414"/>
                </a:lnTo>
                <a:lnTo>
                  <a:pt x="606" y="1392"/>
                </a:lnTo>
                <a:lnTo>
                  <a:pt x="600" y="1366"/>
                </a:lnTo>
                <a:lnTo>
                  <a:pt x="594" y="1338"/>
                </a:lnTo>
                <a:lnTo>
                  <a:pt x="590" y="1306"/>
                </a:lnTo>
                <a:lnTo>
                  <a:pt x="584" y="1234"/>
                </a:lnTo>
                <a:lnTo>
                  <a:pt x="582" y="1156"/>
                </a:lnTo>
                <a:lnTo>
                  <a:pt x="582" y="1156"/>
                </a:lnTo>
                <a:lnTo>
                  <a:pt x="582" y="1104"/>
                </a:lnTo>
                <a:lnTo>
                  <a:pt x="586" y="1054"/>
                </a:lnTo>
                <a:lnTo>
                  <a:pt x="586" y="1054"/>
                </a:lnTo>
                <a:lnTo>
                  <a:pt x="562" y="1048"/>
                </a:lnTo>
                <a:lnTo>
                  <a:pt x="540" y="1040"/>
                </a:lnTo>
                <a:lnTo>
                  <a:pt x="518" y="1030"/>
                </a:lnTo>
                <a:lnTo>
                  <a:pt x="496" y="1020"/>
                </a:lnTo>
                <a:lnTo>
                  <a:pt x="478" y="1008"/>
                </a:lnTo>
                <a:lnTo>
                  <a:pt x="458" y="994"/>
                </a:lnTo>
                <a:lnTo>
                  <a:pt x="440" y="978"/>
                </a:lnTo>
                <a:lnTo>
                  <a:pt x="424" y="962"/>
                </a:lnTo>
                <a:lnTo>
                  <a:pt x="410" y="944"/>
                </a:lnTo>
                <a:lnTo>
                  <a:pt x="396" y="924"/>
                </a:lnTo>
                <a:lnTo>
                  <a:pt x="384" y="904"/>
                </a:lnTo>
                <a:lnTo>
                  <a:pt x="372" y="882"/>
                </a:lnTo>
                <a:lnTo>
                  <a:pt x="364" y="862"/>
                </a:lnTo>
                <a:lnTo>
                  <a:pt x="356" y="838"/>
                </a:lnTo>
                <a:lnTo>
                  <a:pt x="350" y="814"/>
                </a:lnTo>
                <a:lnTo>
                  <a:pt x="348" y="790"/>
                </a:lnTo>
                <a:lnTo>
                  <a:pt x="114" y="792"/>
                </a:lnTo>
                <a:lnTo>
                  <a:pt x="0" y="254"/>
                </a:lnTo>
                <a:lnTo>
                  <a:pt x="294" y="254"/>
                </a:lnTo>
                <a:lnTo>
                  <a:pt x="268" y="0"/>
                </a:lnTo>
                <a:lnTo>
                  <a:pt x="1030" y="0"/>
                </a:lnTo>
                <a:lnTo>
                  <a:pt x="1004" y="254"/>
                </a:lnTo>
                <a:lnTo>
                  <a:pt x="1304" y="254"/>
                </a:lnTo>
                <a:lnTo>
                  <a:pt x="1304" y="254"/>
                </a:lnTo>
                <a:close/>
                <a:moveTo>
                  <a:pt x="298" y="316"/>
                </a:moveTo>
                <a:lnTo>
                  <a:pt x="64" y="306"/>
                </a:lnTo>
                <a:lnTo>
                  <a:pt x="188" y="706"/>
                </a:lnTo>
                <a:lnTo>
                  <a:pt x="344" y="706"/>
                </a:lnTo>
                <a:lnTo>
                  <a:pt x="298" y="316"/>
                </a:lnTo>
                <a:lnTo>
                  <a:pt x="298" y="316"/>
                </a:lnTo>
                <a:close/>
                <a:moveTo>
                  <a:pt x="954" y="706"/>
                </a:moveTo>
                <a:lnTo>
                  <a:pt x="1112" y="706"/>
                </a:lnTo>
                <a:lnTo>
                  <a:pt x="1234" y="306"/>
                </a:lnTo>
                <a:lnTo>
                  <a:pt x="1002" y="316"/>
                </a:lnTo>
                <a:lnTo>
                  <a:pt x="954" y="706"/>
                </a:lnTo>
                <a:lnTo>
                  <a:pt x="954" y="7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2756835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3</TotalTime>
  <Words>11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Vis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45</cp:revision>
  <dcterms:created xsi:type="dcterms:W3CDTF">2021-03-31T02:49:57Z</dcterms:created>
  <dcterms:modified xsi:type="dcterms:W3CDTF">2025-10-16T11:38:31Z</dcterms:modified>
  <cp:category/>
</cp:coreProperties>
</file>